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7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8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9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0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273" r:id="rId2"/>
    <p:sldId id="403" r:id="rId3"/>
    <p:sldId id="418" r:id="rId4"/>
    <p:sldId id="407" r:id="rId5"/>
    <p:sldId id="432" r:id="rId6"/>
    <p:sldId id="435" r:id="rId7"/>
    <p:sldId id="425" r:id="rId8"/>
    <p:sldId id="426" r:id="rId9"/>
    <p:sldId id="427" r:id="rId10"/>
    <p:sldId id="429" r:id="rId11"/>
    <p:sldId id="430" r:id="rId12"/>
    <p:sldId id="439" r:id="rId13"/>
    <p:sldId id="405" r:id="rId14"/>
  </p:sldIdLst>
  <p:sldSz cx="9906000" cy="6858000" type="A4"/>
  <p:notesSz cx="6858000" cy="9947275"/>
  <p:custDataLst>
    <p:tags r:id="rId17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5pPr>
    <a:lvl6pPr marL="22860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6pPr>
    <a:lvl7pPr marL="27432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7pPr>
    <a:lvl8pPr marL="32004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8pPr>
    <a:lvl9pPr marL="36576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C3F92"/>
    <a:srgbClr val="0B4993"/>
    <a:srgbClr val="663300"/>
    <a:srgbClr val="CC9900"/>
    <a:srgbClr val="660066"/>
    <a:srgbClr val="333333"/>
    <a:srgbClr val="5F5F5F"/>
    <a:srgbClr val="66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053" autoAdjust="0"/>
    <p:restoredTop sz="94245" autoAdjust="0"/>
  </p:normalViewPr>
  <p:slideViewPr>
    <p:cSldViewPr>
      <p:cViewPr>
        <p:scale>
          <a:sx n="46" d="100"/>
          <a:sy n="46" d="100"/>
        </p:scale>
        <p:origin x="-138" y="-636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69344" cy="4978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006" tIns="48003" rIns="96006" bIns="48003" numCol="1" anchor="t" anchorCtr="0" compatLnSpc="1">
            <a:prstTxWarp prst="textNoShape">
              <a:avLst/>
            </a:prstTxWarp>
          </a:bodyPr>
          <a:lstStyle>
            <a:lvl1pPr defTabSz="960167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 bwMode="auto">
          <a:xfrm>
            <a:off x="3885453" y="0"/>
            <a:ext cx="2972547" cy="4978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006" tIns="48003" rIns="96006" bIns="48003" numCol="1" anchor="t" anchorCtr="0" compatLnSpc="1">
            <a:prstTxWarp prst="textNoShape">
              <a:avLst/>
            </a:prstTxWarp>
          </a:bodyPr>
          <a:lstStyle>
            <a:lvl1pPr algn="r" defTabSz="960167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09091DC9-20DA-4F5F-8AF0-660CA5BA97CC}" type="datetimeFigureOut">
              <a:rPr lang="ru-RU"/>
              <a:pPr>
                <a:defRPr/>
              </a:pPr>
              <a:t>23.03.2021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 bwMode="auto">
          <a:xfrm>
            <a:off x="1" y="9449435"/>
            <a:ext cx="2969344" cy="497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006" tIns="48003" rIns="96006" bIns="48003" numCol="1" anchor="b" anchorCtr="0" compatLnSpc="1">
            <a:prstTxWarp prst="textNoShape">
              <a:avLst/>
            </a:prstTxWarp>
          </a:bodyPr>
          <a:lstStyle>
            <a:lvl1pPr defTabSz="960167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 bwMode="auto">
          <a:xfrm>
            <a:off x="3885453" y="9449435"/>
            <a:ext cx="2972547" cy="497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006" tIns="48003" rIns="96006" bIns="48003" numCol="1" anchor="b" anchorCtr="0" compatLnSpc="1">
            <a:prstTxWarp prst="textNoShape">
              <a:avLst/>
            </a:prstTxWarp>
          </a:bodyPr>
          <a:lstStyle>
            <a:lvl1pPr algn="r" defTabSz="960167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AC69847F-BC6D-415A-AB81-28E2AF01429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9525399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69344" cy="4978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006" tIns="48003" rIns="96006" bIns="48003" numCol="1" anchor="t" anchorCtr="0" compatLnSpc="1">
            <a:prstTxWarp prst="textNoShape">
              <a:avLst/>
            </a:prstTxWarp>
          </a:bodyPr>
          <a:lstStyle>
            <a:lvl1pPr defTabSz="960167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 bwMode="auto">
          <a:xfrm>
            <a:off x="3885453" y="0"/>
            <a:ext cx="2972547" cy="4978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006" tIns="48003" rIns="96006" bIns="48003" numCol="1" anchor="t" anchorCtr="0" compatLnSpc="1">
            <a:prstTxWarp prst="textNoShape">
              <a:avLst/>
            </a:prstTxWarp>
          </a:bodyPr>
          <a:lstStyle>
            <a:lvl1pPr algn="r" defTabSz="960167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8FF5D2E2-43B2-4BBD-B40E-45E46A5417D4}" type="datetimeFigureOut">
              <a:rPr lang="ru-RU"/>
              <a:pPr>
                <a:defRPr/>
              </a:pPr>
              <a:t>23.03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36600" y="744538"/>
            <a:ext cx="5387975" cy="3730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870" tIns="45935" rIns="91870" bIns="45935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 bwMode="auto">
          <a:xfrm>
            <a:off x="683879" y="4723922"/>
            <a:ext cx="5490244" cy="44789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006" tIns="48003" rIns="96006" bIns="4800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 bwMode="auto">
          <a:xfrm>
            <a:off x="1" y="9449435"/>
            <a:ext cx="2969344" cy="497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006" tIns="48003" rIns="96006" bIns="48003" numCol="1" anchor="b" anchorCtr="0" compatLnSpc="1">
            <a:prstTxWarp prst="textNoShape">
              <a:avLst/>
            </a:prstTxWarp>
          </a:bodyPr>
          <a:lstStyle>
            <a:lvl1pPr defTabSz="960167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 bwMode="auto">
          <a:xfrm>
            <a:off x="3885453" y="9449435"/>
            <a:ext cx="2972547" cy="497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006" tIns="48003" rIns="96006" bIns="48003" numCol="1" anchor="b" anchorCtr="0" compatLnSpc="1">
            <a:prstTxWarp prst="textNoShape">
              <a:avLst/>
            </a:prstTxWarp>
          </a:bodyPr>
          <a:lstStyle>
            <a:lvl1pPr algn="r" defTabSz="960167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5DC1EF62-428B-4A55-8A49-29D4D214BF1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2263642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3746758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912184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321666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322752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565231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2044386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5137316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75580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C83C99-5024-4DBA-B586-3EECE70359CF}" type="datetime1">
              <a:rPr lang="ru-RU" smtClean="0"/>
              <a:t>23.03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dirty="0"/>
              <a:t>Слайд №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3DF3FC-F814-4248-8112-2684C8DEE7A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>
    <p:cut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73D2FB-9C28-482B-AF28-0894A7C95E6A}" type="datetime1">
              <a:rPr lang="ru-RU" smtClean="0"/>
              <a:t>23.03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dirty="0"/>
              <a:t>Слайд №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1926DEA-794D-4344-B207-14CDDF36C81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>
    <p:cut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7D99B4D-CBCD-4B7F-B22F-C85BAD86A19B}" type="datetime1">
              <a:rPr lang="ru-RU" smtClean="0"/>
              <a:t>23.03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dirty="0"/>
              <a:t>Слайд №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FE76D4-77D6-40BD-8F2D-49A21E90CA3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>
    <p:cut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6E6D87-A9FB-4E07-8C0B-07B50A33E84C}" type="datetime1">
              <a:rPr lang="ru-RU" smtClean="0"/>
              <a:t>23.03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dirty="0"/>
              <a:t>Слайд №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F814217-A692-4320-9F69-D25E0A5EB74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>
    <p:cut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4F5DC0-7FAD-429B-A28D-9F53221ED5BF}" type="datetime1">
              <a:rPr lang="ru-RU" smtClean="0"/>
              <a:t>23.03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dirty="0"/>
              <a:t>Слайд №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6F18DD-5E8C-43E7-8876-6B6DA3B1D58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>
    <p:cut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C2D4848-A3A1-486E-8836-B33BE506945C}" type="datetime1">
              <a:rPr lang="ru-RU" smtClean="0"/>
              <a:t>23.03.2021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dirty="0"/>
              <a:t>Слайд №</a:t>
            </a: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D0069B-021C-455F-AA8C-B716CA66259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>
    <p:cut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1647BB-A783-4344-AB37-960C7191F5AB}" type="datetime1">
              <a:rPr lang="ru-RU" smtClean="0"/>
              <a:t>23.03.2021</a:t>
            </a:fld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dirty="0"/>
              <a:t>Слайд №</a:t>
            </a: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DAC577-93EF-4DE4-A091-78A4F3D45F0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>
    <p:cut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74DC07-0ADF-42A6-A2D4-4CEE336FF75A}" type="datetime1">
              <a:rPr lang="ru-RU" smtClean="0"/>
              <a:t>23.03.2021</a:t>
            </a:fld>
            <a:endParaRPr lang="ru-RU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dirty="0"/>
              <a:t>Слайд №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616F01-ACDD-4F9F-9776-39F0C83373D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>
    <p:cut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8FA86E-84C7-4FAA-8402-80F68EA6BE30}" type="datetime1">
              <a:rPr lang="ru-RU" smtClean="0"/>
              <a:t>23.03.2021</a:t>
            </a:fld>
            <a:endParaRPr lang="ru-RU" dirty="0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dirty="0"/>
              <a:t>Слайд №</a:t>
            </a: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84619A-6665-49AD-889A-E97E1464056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>
    <p:cut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F2AA2DE-828A-466B-862E-D39427475532}" type="datetime1">
              <a:rPr lang="ru-RU" smtClean="0"/>
              <a:t>23.03.2021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dirty="0"/>
              <a:t>Слайд №</a:t>
            </a: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528C42-CDAC-4C8D-82EE-79781568469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>
    <p:cut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7D6CBB-3B8C-4101-B15E-7A3222F34382}" type="datetime1">
              <a:rPr lang="ru-RU" smtClean="0"/>
              <a:t>23.03.2021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dirty="0"/>
              <a:t>Слайд №</a:t>
            </a: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0CB202-28E7-44B9-9800-C561C8203D1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>
    <p:cut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12000">
              <a:schemeClr val="accent5">
                <a:lumMod val="20000"/>
                <a:lumOff val="80000"/>
              </a:schemeClr>
            </a:gs>
            <a:gs pos="50000">
              <a:schemeClr val="accent1">
                <a:tint val="44500"/>
                <a:satMod val="160000"/>
              </a:schemeClr>
            </a:gs>
            <a:gs pos="100000">
              <a:schemeClr val="accent6">
                <a:lumMod val="20000"/>
                <a:lumOff val="80000"/>
              </a:schemeClr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xmlns="" id="{D2188727-96D6-4DD2-BBAA-E46E82FD76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86712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4" name="Слайд think-cell" r:id="rId16" imgW="443" imgH="443" progId="TCLayout.ActiveDocument.1">
                  <p:embed/>
                </p:oleObj>
              </mc:Choice>
              <mc:Fallback>
                <p:oleObj name="Слайд think-cell" r:id="rId16" imgW="443" imgH="443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xmlns="" id="{D2188727-96D6-4DD2-BBAA-E46E82FD76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xmlns="" id="{0758FAD8-99FF-46E4-8FE2-B6967A8D7C9B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95300" y="274638"/>
            <a:ext cx="8915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F6385F8-3910-43C4-A054-1DACB998716F}" type="datetime1">
              <a:rPr lang="ru-RU" smtClean="0"/>
              <a:t>23.03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ru-RU" dirty="0"/>
              <a:t>Слайд №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CF3A0CE-FB47-4628-AF62-2D67A550A45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58" r:id="rId2"/>
    <p:sldLayoutId id="2147483657" r:id="rId3"/>
    <p:sldLayoutId id="2147483656" r:id="rId4"/>
    <p:sldLayoutId id="2147483655" r:id="rId5"/>
    <p:sldLayoutId id="2147483654" r:id="rId6"/>
    <p:sldLayoutId id="2147483653" r:id="rId7"/>
    <p:sldLayoutId id="2147483652" r:id="rId8"/>
    <p:sldLayoutId id="2147483651" r:id="rId9"/>
    <p:sldLayoutId id="2147483650" r:id="rId10"/>
    <p:sldLayoutId id="2147483649" r:id="rId11"/>
  </p:sldLayoutIdLst>
  <p:transition>
    <p:cut/>
  </p:transition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8.xml"/><Relationship Id="rId10" Type="http://schemas.openxmlformats.org/officeDocument/2006/relationships/image" Target="../media/image23.emf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2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1.xml"/><Relationship Id="rId7" Type="http://schemas.openxmlformats.org/officeDocument/2006/relationships/image" Target="../media/image1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4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3.xml"/><Relationship Id="rId7" Type="http://schemas.openxmlformats.org/officeDocument/2006/relationships/image" Target="../media/image1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11" Type="http://schemas.openxmlformats.org/officeDocument/2006/relationships/image" Target="../media/image27.jpeg"/><Relationship Id="rId5" Type="http://schemas.openxmlformats.org/officeDocument/2006/relationships/notesSlide" Target="../notesSlides/notesSlide10.xml"/><Relationship Id="rId10" Type="http://schemas.openxmlformats.org/officeDocument/2006/relationships/image" Target="../media/image26.jpe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25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5.xml"/><Relationship Id="rId7" Type="http://schemas.openxmlformats.org/officeDocument/2006/relationships/image" Target="../media/image1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13" Type="http://schemas.openxmlformats.org/officeDocument/2006/relationships/image" Target="../media/image7.jpeg"/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12" Type="http://schemas.openxmlformats.org/officeDocument/2006/relationships/image" Target="../media/image6.jpe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5.jpeg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4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.jpeg"/><Relationship Id="rId14" Type="http://schemas.openxmlformats.org/officeDocument/2006/relationships/image" Target="../media/image8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11.png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0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1.xm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2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5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6.xml"/><Relationship Id="rId10" Type="http://schemas.openxmlformats.org/officeDocument/2006/relationships/image" Target="../media/image19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7.xml"/><Relationship Id="rId10" Type="http://schemas.openxmlformats.org/officeDocument/2006/relationships/image" Target="../media/image21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9FBD7EB6-6836-4930-BBEE-6F52CA87AE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01076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8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xmlns="" id="{9FBD7EB6-6836-4930-BBEE-6F52CA87AE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xmlns="" id="{FC32112C-6258-4DAD-963F-B0D13D7ECCB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Times New Roman" panose="02020603050405020304" pitchFamily="18" charset="0"/>
              <a:ea typeface="+mj-ea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5362" name="Заголовок 1"/>
          <p:cNvSpPr>
            <a:spLocks noGrp="1"/>
          </p:cNvSpPr>
          <p:nvPr>
            <p:ph type="ctrTitle" idx="4294967295"/>
          </p:nvPr>
        </p:nvSpPr>
        <p:spPr>
          <a:xfrm>
            <a:off x="271463" y="2204864"/>
            <a:ext cx="9434065" cy="2520280"/>
          </a:xfrm>
        </p:spPr>
        <p:txBody>
          <a:bodyPr lIns="0" rIns="0"/>
          <a:lstStyle/>
          <a:p>
            <a:r>
              <a:rPr lang="ru-RU" sz="28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Опыт практического применения цифровизации производственных процессов и дистанционный мониторинг состояния промышленной безопасности угольных предприятий Кемеровской области - Кузбасса»</a:t>
            </a:r>
            <a:endParaRPr lang="ru-RU" sz="28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1113" y="1690688"/>
            <a:ext cx="9906000" cy="71437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 b="0" dirty="0"/>
          </a:p>
        </p:txBody>
      </p:sp>
      <p:pic>
        <p:nvPicPr>
          <p:cNvPr id="15364" name="Picture 41" descr="fsetan_emblema2007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254500" y="180975"/>
            <a:ext cx="1412875" cy="146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365" name="Подзаголовок 2"/>
          <p:cNvSpPr>
            <a:spLocks noGrp="1"/>
          </p:cNvSpPr>
          <p:nvPr>
            <p:ph type="subTitle" idx="4294967295"/>
          </p:nvPr>
        </p:nvSpPr>
        <p:spPr>
          <a:xfrm>
            <a:off x="4448944" y="4869160"/>
            <a:ext cx="5457056" cy="1440159"/>
          </a:xfrm>
        </p:spPr>
        <p:txBody>
          <a:bodyPr/>
          <a:lstStyle/>
          <a:p>
            <a:pPr marL="0" indent="0" eaLnBrk="1" hangingPunct="1">
              <a:lnSpc>
                <a:spcPct val="80000"/>
              </a:lnSpc>
              <a:spcBef>
                <a:spcPct val="0"/>
              </a:spcBef>
              <a:buNone/>
            </a:pPr>
            <a:r>
              <a:rPr lang="ru-RU" sz="2000" b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меститель руководителя </a:t>
            </a:r>
            <a:r>
              <a:rPr lang="ru-RU" sz="20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ибирского управления Федеральной службы по экологическому, технологическому и атомному надзору</a:t>
            </a:r>
          </a:p>
          <a:p>
            <a:pPr marL="0" indent="0" eaLnBrk="1" hangingPunct="1">
              <a:lnSpc>
                <a:spcPct val="80000"/>
              </a:lnSpc>
              <a:spcBef>
                <a:spcPct val="0"/>
              </a:spcBef>
              <a:buFont typeface="Arial" charset="0"/>
              <a:buNone/>
            </a:pPr>
            <a:endParaRPr lang="ru-RU" sz="1600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eaLnBrk="1" hangingPunct="1">
              <a:lnSpc>
                <a:spcPct val="80000"/>
              </a:lnSpc>
              <a:spcBef>
                <a:spcPct val="0"/>
              </a:spcBef>
              <a:buNone/>
            </a:pPr>
            <a:r>
              <a:rPr lang="ru-RU" sz="2400" b="1" dirty="0" err="1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ербинович</a:t>
            </a:r>
            <a:r>
              <a:rPr lang="ru-RU" sz="2400" b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Михаил Васильевич</a:t>
            </a:r>
            <a:endParaRPr lang="ru-RU" sz="2400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366" name="TextBox 6"/>
          <p:cNvSpPr txBox="1">
            <a:spLocks noChangeArrowheads="1"/>
          </p:cNvSpPr>
          <p:nvPr/>
        </p:nvSpPr>
        <p:spPr bwMode="auto">
          <a:xfrm>
            <a:off x="3708400" y="6240463"/>
            <a:ext cx="3584575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ru-RU" sz="1800" b="0">
              <a:latin typeface="Cambria" pitchFamily="18" charset="0"/>
            </a:endParaRPr>
          </a:p>
          <a:p>
            <a:r>
              <a:rPr lang="ru-RU" sz="1800" b="0">
                <a:latin typeface="Cambria" pitchFamily="18" charset="0"/>
              </a:rPr>
              <a:t> </a:t>
            </a:r>
          </a:p>
        </p:txBody>
      </p:sp>
      <p:sp>
        <p:nvSpPr>
          <p:cNvPr id="15367" name="Заголовок 1"/>
          <p:cNvSpPr>
            <a:spLocks/>
          </p:cNvSpPr>
          <p:nvPr/>
        </p:nvSpPr>
        <p:spPr bwMode="auto">
          <a:xfrm>
            <a:off x="193675" y="180975"/>
            <a:ext cx="9367838" cy="1303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>
              <a:lnSpc>
                <a:spcPct val="80000"/>
              </a:lnSpc>
            </a:pPr>
            <a:endParaRPr lang="ru-RU" sz="1800" dirty="0">
              <a:solidFill>
                <a:schemeClr val="bg1"/>
              </a:solidFill>
              <a:latin typeface="Cambria" pitchFamily="18" charset="0"/>
            </a:endParaRPr>
          </a:p>
          <a:p>
            <a:pPr>
              <a:lnSpc>
                <a:spcPct val="80000"/>
              </a:lnSpc>
            </a:pPr>
            <a:endParaRPr lang="ru-RU" sz="1800" dirty="0">
              <a:solidFill>
                <a:schemeClr val="bg1"/>
              </a:solidFill>
              <a:latin typeface="Cambria" pitchFamily="18" charset="0"/>
            </a:endParaRPr>
          </a:p>
          <a:p>
            <a:pPr>
              <a:lnSpc>
                <a:spcPct val="80000"/>
              </a:lnSpc>
            </a:pPr>
            <a:r>
              <a:rPr lang="ru-RU" sz="3200" dirty="0">
                <a:solidFill>
                  <a:schemeClr val="bg1"/>
                </a:solidFill>
                <a:latin typeface="Cambria" pitchFamily="18" charset="0"/>
              </a:rPr>
              <a:t>  РОСТЕХНАДЗОР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5817096" y="121212"/>
            <a:ext cx="3744417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80000"/>
              </a:lnSpc>
            </a:pPr>
            <a:endParaRPr lang="ru-RU" sz="1600" dirty="0">
              <a:solidFill>
                <a:prstClr val="black"/>
              </a:solidFill>
              <a:latin typeface="Cambria" pitchFamily="18" charset="0"/>
            </a:endParaRPr>
          </a:p>
          <a:p>
            <a:pPr lvl="0" algn="ctr">
              <a:lnSpc>
                <a:spcPct val="80000"/>
              </a:lnSpc>
            </a:pPr>
            <a:r>
              <a:rPr lang="ru-RU" sz="1600" dirty="0">
                <a:solidFill>
                  <a:prstClr val="black"/>
                </a:solidFill>
                <a:latin typeface="Cambria" pitchFamily="18" charset="0"/>
              </a:rPr>
              <a:t>Сибирское управление </a:t>
            </a:r>
          </a:p>
          <a:p>
            <a:pPr lvl="0" algn="ctr">
              <a:lnSpc>
                <a:spcPct val="80000"/>
              </a:lnSpc>
            </a:pPr>
            <a:r>
              <a:rPr lang="ru-RU" sz="1600" dirty="0">
                <a:solidFill>
                  <a:prstClr val="black"/>
                </a:solidFill>
                <a:latin typeface="Cambria" pitchFamily="18" charset="0"/>
              </a:rPr>
              <a:t>Федеральной службы по </a:t>
            </a:r>
          </a:p>
          <a:p>
            <a:pPr lvl="0" algn="ctr">
              <a:lnSpc>
                <a:spcPct val="80000"/>
              </a:lnSpc>
            </a:pPr>
            <a:r>
              <a:rPr lang="ru-RU" sz="1600" dirty="0">
                <a:solidFill>
                  <a:prstClr val="black"/>
                </a:solidFill>
                <a:latin typeface="Cambria" pitchFamily="18" charset="0"/>
              </a:rPr>
              <a:t>экологическому, технологическому </a:t>
            </a:r>
          </a:p>
          <a:p>
            <a:pPr lvl="0" algn="ctr">
              <a:lnSpc>
                <a:spcPct val="80000"/>
              </a:lnSpc>
            </a:pPr>
            <a:r>
              <a:rPr lang="ru-RU" sz="1600" dirty="0">
                <a:solidFill>
                  <a:prstClr val="black"/>
                </a:solidFill>
                <a:latin typeface="Cambria" pitchFamily="18" charset="0"/>
              </a:rPr>
              <a:t>и атомному надзору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076A9A5F-576D-445B-A16F-FD417A56BD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3DAC577-93EF-4DE4-A091-78A4F3D45F0A}" type="slidenum">
              <a:rPr lang="ru-RU" smtClean="0"/>
              <a:pPr>
                <a:defRPr/>
              </a:pPr>
              <a:t>1</a:t>
            </a:fld>
            <a:endParaRPr lang="ru-RU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500" advClick="0">
        <p14:reveal/>
      </p:transition>
    </mc:Choice>
    <mc:Fallback xmlns="">
      <p:transition spd="slow" advClick="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72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18" name="Объект 17" hidden="1">
                        <a:extLst>
                          <a:ext uri="{FF2B5EF4-FFF2-40B4-BE49-F238E27FC236}">
                            <a16:creationId xmlns:a16="http://schemas.microsoft.com/office/drawing/2014/main" xmlns="" id="{3E034962-BA4C-41F2-8250-7BFD29424A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xmlns="" id="{863C2D22-1B0E-4E03-89F5-E6A81A05898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4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116463" y="44624"/>
            <a:ext cx="8915400" cy="1143000"/>
            <a:chOff x="35496" y="44624"/>
            <a:chExt cx="9107488" cy="1189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19" name="Заголовок 16">
            <a:extLst>
              <a:ext uri="{FF2B5EF4-FFF2-40B4-BE49-F238E27FC236}">
                <a16:creationId xmlns:a16="http://schemas.microsoft.com/office/drawing/2014/main" xmlns="" id="{CC00EB28-3386-4C26-B303-89277E00A8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68624" y="405313"/>
            <a:ext cx="7937612" cy="912986"/>
          </a:xfrm>
        </p:spPr>
        <p:txBody>
          <a:bodyPr lIns="0" tIns="0" rIns="0" bIns="0"/>
          <a:lstStyle/>
          <a:p>
            <a:pPr algn="l"/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Дистанционный мониторинг </a:t>
            </a:r>
            <a:r>
              <a:rPr lang="ru-RU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на </a:t>
            </a:r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угольных разрезах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CA7BF932-1550-4762-A5EB-138F5B3B371C}"/>
              </a:ext>
            </a:extLst>
          </p:cNvPr>
          <p:cNvSpPr/>
          <p:nvPr/>
        </p:nvSpPr>
        <p:spPr>
          <a:xfrm>
            <a:off x="419776" y="1280120"/>
            <a:ext cx="908646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spcAft>
                <a:spcPts val="0"/>
              </a:spcAft>
            </a:pPr>
            <a:r>
              <a:rPr lang="ru-RU" sz="1600" b="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истема высокоточного позиционирования буровых установок. Функционал системы заключается в контроле и управлении процессами БВР (высокоточная навигация на скважину, контроль параметров процесса бурения, работа с электронными паспортами на бурение, учет объемов работ и простоев, контроль и учет нормируемых материалов).</a:t>
            </a:r>
          </a:p>
        </p:txBody>
      </p:sp>
      <p:pic>
        <p:nvPicPr>
          <p:cNvPr id="20" name="Рисунок 19">
            <a:extLst>
              <a:ext uri="{FF2B5EF4-FFF2-40B4-BE49-F238E27FC236}">
                <a16:creationId xmlns:a16="http://schemas.microsoft.com/office/drawing/2014/main" xmlns="" id="{7E428FDB-1E9D-41CF-A037-42D242C91AC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04528" y="2882216"/>
            <a:ext cx="4086804" cy="3067064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xmlns="" id="{E851A737-A209-4980-A6CB-30F36EA3AE6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112971" y="2882216"/>
            <a:ext cx="4085145" cy="3067064"/>
          </a:xfrm>
          <a:prstGeom prst="rect">
            <a:avLst/>
          </a:prstGeom>
        </p:spPr>
      </p:pic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7939663B-D9F0-4A64-A2F2-223ADFDA8E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F814217-A692-4320-9F69-D25E0A5EB74C}" type="slidenum">
              <a:rPr lang="ru-RU" smtClean="0"/>
              <a:pPr>
                <a:defRPr/>
              </a:pPr>
              <a:t>1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4701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96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18" name="Объект 17" hidden="1">
                        <a:extLst>
                          <a:ext uri="{FF2B5EF4-FFF2-40B4-BE49-F238E27FC236}">
                            <a16:creationId xmlns:a16="http://schemas.microsoft.com/office/drawing/2014/main" xmlns="" id="{3E034962-BA4C-41F2-8250-7BFD29424A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xmlns="" id="{863C2D22-1B0E-4E03-89F5-E6A81A05898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4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116463" y="44624"/>
            <a:ext cx="8915400" cy="1143000"/>
            <a:chOff x="35496" y="44624"/>
            <a:chExt cx="9107488" cy="1189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19" name="Заголовок 16">
            <a:extLst>
              <a:ext uri="{FF2B5EF4-FFF2-40B4-BE49-F238E27FC236}">
                <a16:creationId xmlns:a16="http://schemas.microsoft.com/office/drawing/2014/main" xmlns="" id="{CC00EB28-3386-4C26-B303-89277E00A8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68624" y="427085"/>
            <a:ext cx="7937612" cy="912986"/>
          </a:xfrm>
        </p:spPr>
        <p:txBody>
          <a:bodyPr lIns="0" tIns="0" rIns="0" bIns="0"/>
          <a:lstStyle/>
          <a:p>
            <a:pPr algn="l"/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Дистанционный мониторинг </a:t>
            </a:r>
            <a:r>
              <a:rPr lang="ru-RU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на </a:t>
            </a:r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угольных разрезах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CA7BF932-1550-4762-A5EB-138F5B3B371C}"/>
              </a:ext>
            </a:extLst>
          </p:cNvPr>
          <p:cNvSpPr/>
          <p:nvPr/>
        </p:nvSpPr>
        <p:spPr>
          <a:xfrm>
            <a:off x="419776" y="1280120"/>
            <a:ext cx="9086460" cy="584775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lvl="0" algn="just">
              <a:spcAft>
                <a:spcPts val="0"/>
              </a:spcAft>
            </a:pPr>
            <a:r>
              <a:rPr lang="ru-RU" sz="1600" b="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истема позиционирования объектов, а также обеспечения безопасности рабочих на открытых горных работах.</a:t>
            </a: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xmlns="" id="{0E4247E7-A4EE-44F6-B61B-4BD338CFF1FA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861"/>
          <a:stretch/>
        </p:blipFill>
        <p:spPr>
          <a:xfrm>
            <a:off x="420520" y="1957391"/>
            <a:ext cx="9085716" cy="3952891"/>
          </a:xfrm>
          <a:prstGeom prst="rect">
            <a:avLst/>
          </a:prstGeom>
        </p:spPr>
      </p:pic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55EECD0E-F52F-4D5B-9470-ACAFF40709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F814217-A692-4320-9F69-D25E0A5EB74C}" type="slidenum">
              <a:rPr lang="ru-RU" smtClean="0"/>
              <a:pPr>
                <a:defRPr/>
              </a:pPr>
              <a:t>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6771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xmlns="" id="{0B961556-741C-4CDE-A1C6-E0DE15623DF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2720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5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xmlns="" id="{1D263E14-AEEB-4F3B-9521-17D5C62C47F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1187624"/>
            <a:ext cx="8915400" cy="729208"/>
          </a:xfrm>
        </p:spPr>
        <p:txBody>
          <a:bodyPr/>
          <a:lstStyle/>
          <a:p>
            <a:r>
              <a:rPr lang="ru-RU" sz="2800" b="1" dirty="0" smtClean="0"/>
              <a:t>Внедрение </a:t>
            </a:r>
            <a:r>
              <a:rPr lang="ru-RU" sz="2800" b="1" dirty="0"/>
              <a:t>системы распознавания опасных действий </a:t>
            </a:r>
            <a:r>
              <a:rPr lang="ru-RU" sz="2800" b="1" dirty="0" smtClean="0"/>
              <a:t>персонала в Распадской угольной компании</a:t>
            </a:r>
            <a:endParaRPr lang="ru-RU" sz="2800" b="1" dirty="0"/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116463" y="44624"/>
            <a:ext cx="8915400" cy="1143000"/>
            <a:chOff x="35496" y="44624"/>
            <a:chExt cx="9107488" cy="1189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C2181506-01C9-4D8B-B9AC-AADE2F74AE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5616F01-ACDD-4F9F-9776-39F0C83373D9}" type="slidenum">
              <a:rPr lang="ru-RU" smtClean="0"/>
              <a:pPr>
                <a:defRPr/>
              </a:pPr>
              <a:t>12</a:t>
            </a:fld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385088" y="2132856"/>
            <a:ext cx="9176424" cy="27392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800" dirty="0"/>
              <a:t>Видеозаписи полностью или выборочно просматриваются специалистами </a:t>
            </a:r>
          </a:p>
          <a:p>
            <a:pPr algn="just"/>
            <a:r>
              <a:rPr lang="ru-RU" sz="1800" dirty="0"/>
              <a:t>Для повышения </a:t>
            </a:r>
            <a:r>
              <a:rPr lang="ru-RU" sz="1800" dirty="0" smtClean="0"/>
              <a:t>эффективности </a:t>
            </a:r>
            <a:r>
              <a:rPr lang="ru-RU" sz="1800" dirty="0"/>
              <a:t>мониторинга </a:t>
            </a:r>
            <a:r>
              <a:rPr lang="ru-RU" sz="1800" dirty="0" smtClean="0"/>
              <a:t>используется </a:t>
            </a:r>
            <a:r>
              <a:rPr lang="ru-RU" sz="1800" dirty="0"/>
              <a:t>машинное зрение</a:t>
            </a:r>
          </a:p>
          <a:p>
            <a:pPr algn="just"/>
            <a:r>
              <a:rPr lang="ru-RU" sz="1800" dirty="0"/>
              <a:t>На основании полученных данных </a:t>
            </a:r>
            <a:r>
              <a:rPr lang="ru-RU" sz="1800" dirty="0" smtClean="0"/>
              <a:t>работники </a:t>
            </a:r>
            <a:r>
              <a:rPr lang="ru-RU" sz="1800" dirty="0"/>
              <a:t>и руководители получают корректирующую обратную связь, лучшие подразделения поощряются (награды в номинации «Культура безопасности</a:t>
            </a:r>
            <a:r>
              <a:rPr lang="ru-RU" sz="1800" dirty="0" smtClean="0"/>
              <a:t>» </a:t>
            </a:r>
          </a:p>
          <a:p>
            <a:r>
              <a:rPr lang="ru-RU" sz="1800" dirty="0" smtClean="0"/>
              <a:t>       </a:t>
            </a:r>
            <a:endParaRPr lang="ru-RU" sz="1800" dirty="0"/>
          </a:p>
          <a:p>
            <a:r>
              <a:rPr lang="ru-RU" sz="1400" dirty="0" smtClean="0"/>
              <a:t>Мониторинг </a:t>
            </a:r>
            <a:r>
              <a:rPr lang="ru-RU" sz="1400" dirty="0"/>
              <a:t>ношения </a:t>
            </a:r>
            <a:r>
              <a:rPr lang="ru-RU" sz="1400" dirty="0" smtClean="0"/>
              <a:t>СИЗ                     Езда </a:t>
            </a:r>
            <a:r>
              <a:rPr lang="ru-RU" sz="1400" dirty="0"/>
              <a:t>стоя в проходе автобуса </a:t>
            </a:r>
            <a:r>
              <a:rPr lang="ru-RU" sz="1400" dirty="0" smtClean="0"/>
              <a:t>и                   </a:t>
            </a:r>
            <a:r>
              <a:rPr lang="ru-RU" sz="1400" dirty="0"/>
              <a:t>Ношение медицинских масок </a:t>
            </a:r>
            <a:r>
              <a:rPr lang="ru-RU" sz="1400" dirty="0" smtClean="0"/>
              <a:t>     	                                             неиспользование </a:t>
            </a:r>
            <a:r>
              <a:rPr lang="ru-RU" sz="1400" dirty="0"/>
              <a:t>ремня </a:t>
            </a:r>
            <a:r>
              <a:rPr lang="ru-RU" sz="1400" dirty="0" smtClean="0"/>
              <a:t>безопасности                        в нарядных</a:t>
            </a:r>
            <a:endParaRPr lang="ru-RU" sz="1400" dirty="0"/>
          </a:p>
          <a:p>
            <a:endParaRPr lang="ru-RU" sz="1800" dirty="0"/>
          </a:p>
          <a:p>
            <a:endParaRPr lang="ru-RU" sz="1800" dirty="0"/>
          </a:p>
        </p:txBody>
      </p:sp>
      <p:pic>
        <p:nvPicPr>
          <p:cNvPr id="15" name="Объект 17"/>
          <p:cNvPicPr>
            <a:picLocks noGrp="1" noChangeAspect="1"/>
          </p:cNvPicPr>
          <p:nvPr>
            <p:ph sz="quarter" idx="80"/>
          </p:nvPr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1951" y="3398237"/>
            <a:ext cx="2922786" cy="2022799"/>
          </a:xfrm>
        </p:spPr>
      </p:pic>
      <p:pic>
        <p:nvPicPr>
          <p:cNvPr id="16" name="Объект 31"/>
          <p:cNvPicPr>
            <a:picLocks noGrp="1" noChangeAspect="1"/>
          </p:cNvPicPr>
          <p:nvPr>
            <p:ph sz="quarter" idx="81"/>
          </p:nvPr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92897" y="3497561"/>
            <a:ext cx="2922786" cy="2023467"/>
          </a:xfrm>
        </p:spPr>
      </p:pic>
      <p:pic>
        <p:nvPicPr>
          <p:cNvPr id="18" name="Объект 31"/>
          <p:cNvPicPr>
            <a:picLocks noGrp="1"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00125" y="4415948"/>
            <a:ext cx="2791655" cy="1783769"/>
          </a:xfrm>
          <a:prstGeom prst="rect">
            <a:avLst/>
          </a:prstGeom>
        </p:spPr>
      </p:pic>
      <p:pic>
        <p:nvPicPr>
          <p:cNvPr id="19" name="Объект 22"/>
          <p:cNvPicPr>
            <a:picLocks noGrp="1"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19225" y="4415948"/>
            <a:ext cx="3171144" cy="1783768"/>
          </a:xfrm>
          <a:prstGeom prst="rect">
            <a:avLst/>
          </a:prstGeom>
        </p:spPr>
      </p:pic>
      <p:pic>
        <p:nvPicPr>
          <p:cNvPr id="20" name="Объект 17"/>
          <p:cNvPicPr>
            <a:picLocks noGrp="1"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0289" y="4442188"/>
            <a:ext cx="3172191" cy="1783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0814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xmlns="" id="{0B961556-741C-4CDE-A1C6-E0DE15623DF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8316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0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xmlns="" id="{0B961556-741C-4CDE-A1C6-E0DE15623D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xmlns="" id="{1D263E14-AEEB-4F3B-9521-17D5C62C47F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1187624"/>
            <a:ext cx="8915400" cy="4905672"/>
          </a:xfrm>
        </p:spPr>
        <p:txBody>
          <a:bodyPr/>
          <a:lstStyle/>
          <a:p>
            <a:r>
              <a:rPr lang="ru-RU" b="1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Благодарю за внимание!</a:t>
            </a:r>
            <a:endParaRPr lang="ru-RU" dirty="0"/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116463" y="44624"/>
            <a:ext cx="8915400" cy="1143000"/>
            <a:chOff x="35496" y="44624"/>
            <a:chExt cx="9107488" cy="1189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C2181506-01C9-4D8B-B9AC-AADE2F74AE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5616F01-ACDD-4F9F-9776-39F0C83373D9}" type="slidenum">
              <a:rPr lang="ru-RU" smtClean="0"/>
              <a:pPr>
                <a:defRPr/>
              </a:pPr>
              <a:t>1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43846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07082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2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18" name="Объект 17" hidden="1">
                        <a:extLst>
                          <a:ext uri="{FF2B5EF4-FFF2-40B4-BE49-F238E27FC236}">
                            <a16:creationId xmlns:a16="http://schemas.microsoft.com/office/drawing/2014/main" xmlns="" id="{3E034962-BA4C-41F2-8250-7BFD29424A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116463" y="44624"/>
            <a:ext cx="8915400" cy="1143000"/>
            <a:chOff x="35496" y="44624"/>
            <a:chExt cx="9107488" cy="1189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24" name="Заголовок 16">
            <a:extLst>
              <a:ext uri="{FF2B5EF4-FFF2-40B4-BE49-F238E27FC236}">
                <a16:creationId xmlns:a16="http://schemas.microsoft.com/office/drawing/2014/main" xmlns="" id="{AA864FC0-ADFD-44F3-9830-B2992BF6ED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68624" y="274638"/>
            <a:ext cx="7937612" cy="912986"/>
          </a:xfrm>
        </p:spPr>
        <p:txBody>
          <a:bodyPr lIns="0" tIns="0" rIns="0" bIns="0"/>
          <a:lstStyle/>
          <a:p>
            <a:pPr algn="l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Поднадзорные организации</a:t>
            </a:r>
          </a:p>
        </p:txBody>
      </p:sp>
      <p:pic>
        <p:nvPicPr>
          <p:cNvPr id="3144" name="Picture 72" descr="http://bsk.nios.ru/sites/bsk.nios.ru/files/fotogalereya/30_1.jpg">
            <a:extLst>
              <a:ext uri="{FF2B5EF4-FFF2-40B4-BE49-F238E27FC236}">
                <a16:creationId xmlns:a16="http://schemas.microsoft.com/office/drawing/2014/main" xmlns="" id="{247057D6-BE36-4B79-B44C-3BF61C8A30E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360964" y="1977880"/>
            <a:ext cx="2041826" cy="2088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46" name="Picture 74" descr="https://realty.interfax.ru/images/cms-image-000001983.jpg">
            <a:extLst>
              <a:ext uri="{FF2B5EF4-FFF2-40B4-BE49-F238E27FC236}">
                <a16:creationId xmlns:a16="http://schemas.microsoft.com/office/drawing/2014/main" xmlns="" id="{92FADDBF-60CB-4901-9914-42D5E79283C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966053" y="1977880"/>
            <a:ext cx="2041826" cy="2088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49" name="Picture 77" descr="https://gospartner.club/wp-content/uploads/2019/10/Gospartner-sistema-teplosnabzheniya.jpg">
            <a:extLst>
              <a:ext uri="{FF2B5EF4-FFF2-40B4-BE49-F238E27FC236}">
                <a16:creationId xmlns:a16="http://schemas.microsoft.com/office/drawing/2014/main" xmlns="" id="{11AA71A3-6006-4F8A-9189-AAD35D94A2B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571142" y="1977880"/>
            <a:ext cx="2041826" cy="2088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57" name="Picture 85" descr="https://izhevsk.eprnd.ru/wp-content/uploads/2019/07/po-kakim-vneshnim-priznakam-opredelyayut-napryazhenie-linii-elektroperedach.jpg">
            <a:extLst>
              <a:ext uri="{FF2B5EF4-FFF2-40B4-BE49-F238E27FC236}">
                <a16:creationId xmlns:a16="http://schemas.microsoft.com/office/drawing/2014/main" xmlns="" id="{A16083DA-93D5-4568-B8D2-808A9537A06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360964" y="4260988"/>
            <a:ext cx="2041826" cy="2088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91" descr="https://lh3.googleusercontent.com/ZgKhKaBMHz4hVlt9tXOtJv7YgdJS7OyIthueyYvnIby5pjyhNeZBm_HhWuRb7Xts0p4rFntjlb1ubXUtigSOqdRryxr4P8Wy17lL7eYdTwPvx6j-aOBPZf_WS764qrOR9xB3PxeyoHbLVP6_w7CUbEOK-uQ86UYkeKMKXmODtrVLF8kAS5iIhB48Y1KLwdXhXT1_zUzy1qsUXnnodwYlB-Gz6vBqQf8rWDIWLHyIO4ZEh0iSMZFStbz8NBVd90Xa6-bP7_p6A4917wQbfTqDlt-thhbzzyJnsRRcxTwp0q5hz9mPJ8E5hUaJj6Dsgk3HzLc3Bq9Cx2Tm-SlvilParTYfKESlERmiEDcnr5BjJgNb99DSKZ7FN0pH5aqUvYSJLkNoA_7xEH2rYxvvWoUeSHERPorQOXbqEj9Y_R97RW94TipsL5MZtC3mCQ8uu67x7kXFKz8k_HB7FQV4HEsScPc0_-cA8T2asUjYpgnyfdQGmJhnPOysfKMltahqatklJuZ7QuZUxnOlKPUiCT1KY_c1QKIjGEbYwG-cOft7Yno6oBcAiCfEkaQnM0XY1YjHQGhV-QcHPfpxfltqaNDd1sT_7_lTHbzPgg2d60ZC9fU_rnZex6ZrgA=w1347-h1010-no">
            <a:extLst>
              <a:ext uri="{FF2B5EF4-FFF2-40B4-BE49-F238E27FC236}">
                <a16:creationId xmlns:a16="http://schemas.microsoft.com/office/drawing/2014/main" xmlns="" id="{AECF6BE5-91E3-4B49-8869-E860631EE66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966053" y="4260988"/>
            <a:ext cx="2041826" cy="2088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66" name="Picture 94" descr="https://russiancouncil.ru/upload/iblock/631/transkor0.jpg">
            <a:extLst>
              <a:ext uri="{FF2B5EF4-FFF2-40B4-BE49-F238E27FC236}">
                <a16:creationId xmlns:a16="http://schemas.microsoft.com/office/drawing/2014/main" xmlns="" id="{1DFBBE51-E62C-49C2-92C3-990F6110701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571142" y="4260988"/>
            <a:ext cx="2041826" cy="2088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D60C9CFA-455A-423B-A2E3-DC9859275B29}"/>
              </a:ext>
            </a:extLst>
          </p:cNvPr>
          <p:cNvSpPr/>
          <p:nvPr/>
        </p:nvSpPr>
        <p:spPr>
          <a:xfrm>
            <a:off x="1360965" y="1085835"/>
            <a:ext cx="725200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b="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Управлению поднадзорно </a:t>
            </a:r>
            <a:r>
              <a:rPr lang="ru-RU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792 организации</a:t>
            </a:r>
            <a:r>
              <a:rPr lang="ru-RU" sz="1600" b="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осуществляющие деятельность в области промышленной безопасности, эксплуатирующие </a:t>
            </a:r>
            <a:r>
              <a:rPr lang="ru-RU" sz="16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0764  </a:t>
            </a:r>
            <a:r>
              <a:rPr lang="ru-RU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пасных производственных объектов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xmlns="" id="{DE317332-E5A7-44CE-9450-6391907D0416}"/>
              </a:ext>
            </a:extLst>
          </p:cNvPr>
          <p:cNvSpPr/>
          <p:nvPr/>
        </p:nvSpPr>
        <p:spPr>
          <a:xfrm>
            <a:off x="1360965" y="3544044"/>
            <a:ext cx="2041826" cy="523220"/>
          </a:xfrm>
          <a:prstGeom prst="rect">
            <a:avLst/>
          </a:prstGeom>
          <a:solidFill>
            <a:schemeClr val="bg1">
              <a:alpha val="65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9 тепловых электростанций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DFA82237-7AF1-4A83-A2B0-69B0572F4F84}"/>
              </a:ext>
            </a:extLst>
          </p:cNvPr>
          <p:cNvSpPr/>
          <p:nvPr/>
        </p:nvSpPr>
        <p:spPr>
          <a:xfrm>
            <a:off x="3966053" y="3542247"/>
            <a:ext cx="2041826" cy="523220"/>
          </a:xfrm>
          <a:prstGeom prst="rect">
            <a:avLst/>
          </a:prstGeom>
          <a:solidFill>
            <a:schemeClr val="bg1">
              <a:alpha val="65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21 </a:t>
            </a:r>
            <a:r>
              <a:rPr lang="ru-RU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электросетевых организаций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xmlns="" id="{FDF26992-1B16-4E73-A241-B9E2A9572DF4}"/>
              </a:ext>
            </a:extLst>
          </p:cNvPr>
          <p:cNvSpPr/>
          <p:nvPr/>
        </p:nvSpPr>
        <p:spPr>
          <a:xfrm>
            <a:off x="6571142" y="3547523"/>
            <a:ext cx="2041826" cy="523220"/>
          </a:xfrm>
          <a:prstGeom prst="rect">
            <a:avLst/>
          </a:prstGeom>
          <a:solidFill>
            <a:schemeClr val="bg1">
              <a:alpha val="65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7 </a:t>
            </a:r>
            <a:r>
              <a:rPr lang="ru-RU" sz="1400" dirty="0" err="1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еплосетевых</a:t>
            </a:r>
            <a:r>
              <a:rPr lang="ru-RU" sz="14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рганизаций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xmlns="" id="{9BFCB2A8-DDFE-45B9-A2DC-857C6BB43FBC}"/>
              </a:ext>
            </a:extLst>
          </p:cNvPr>
          <p:cNvSpPr/>
          <p:nvPr/>
        </p:nvSpPr>
        <p:spPr>
          <a:xfrm>
            <a:off x="1360964" y="5826000"/>
            <a:ext cx="2041826" cy="523220"/>
          </a:xfrm>
          <a:prstGeom prst="rect">
            <a:avLst/>
          </a:prstGeom>
          <a:solidFill>
            <a:schemeClr val="bg1">
              <a:alpha val="65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121тыс.км </a:t>
            </a:r>
            <a:r>
              <a:rPr lang="ru-RU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линий электропередач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xmlns="" id="{E0000904-0E20-45B3-ADC1-72EFA14A9260}"/>
              </a:ext>
            </a:extLst>
          </p:cNvPr>
          <p:cNvSpPr/>
          <p:nvPr/>
        </p:nvSpPr>
        <p:spPr>
          <a:xfrm>
            <a:off x="3966053" y="5826000"/>
            <a:ext cx="2041826" cy="523220"/>
          </a:xfrm>
          <a:prstGeom prst="rect">
            <a:avLst/>
          </a:prstGeom>
          <a:solidFill>
            <a:schemeClr val="bg1">
              <a:alpha val="65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лее 7500 котельных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xmlns="" id="{9E8BEE6A-E626-4D86-98EA-13EEACE09CB2}"/>
              </a:ext>
            </a:extLst>
          </p:cNvPr>
          <p:cNvSpPr/>
          <p:nvPr/>
        </p:nvSpPr>
        <p:spPr>
          <a:xfrm>
            <a:off x="6571142" y="5605344"/>
            <a:ext cx="2041826" cy="738664"/>
          </a:xfrm>
          <a:prstGeom prst="rect">
            <a:avLst/>
          </a:prstGeom>
          <a:solidFill>
            <a:schemeClr val="bg1">
              <a:alpha val="65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коло 18 </a:t>
            </a:r>
            <a:r>
              <a:rPr lang="ru-RU" sz="14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ыс.км</a:t>
            </a:r>
            <a:r>
              <a:rPr lang="ru-RU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магистральных трубопроводов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F814217-A692-4320-9F69-D25E0A5EB74C}" type="slidenum">
              <a:rPr lang="ru-RU" smtClean="0"/>
              <a:pPr>
                <a:defRPr/>
              </a:pPr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21360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01812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6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18" name="Объект 17" hidden="1">
                        <a:extLst>
                          <a:ext uri="{FF2B5EF4-FFF2-40B4-BE49-F238E27FC236}">
                            <a16:creationId xmlns:a16="http://schemas.microsoft.com/office/drawing/2014/main" xmlns="" id="{3E034962-BA4C-41F2-8250-7BFD29424A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7423" name="Picture 15" descr="http://www.donetsksteel.com.ua/img/59301AA5-BF90-4D2C-911F-A26C19144AB8.jpeg">
            <a:extLst>
              <a:ext uri="{FF2B5EF4-FFF2-40B4-BE49-F238E27FC236}">
                <a16:creationId xmlns:a16="http://schemas.microsoft.com/office/drawing/2014/main" xmlns="" id="{D962196D-13E7-4B0F-A226-6566A7A6634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547008" y="2601913"/>
            <a:ext cx="2481262" cy="1654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21" name="Picture 13" descr="https://s16.stc.all.kpcdn.net/share/i/12/6457467/inx960x640.jpg">
            <a:extLst>
              <a:ext uri="{FF2B5EF4-FFF2-40B4-BE49-F238E27FC236}">
                <a16:creationId xmlns:a16="http://schemas.microsoft.com/office/drawing/2014/main" xmlns="" id="{94782EDC-C3CA-4C9C-A362-83578B4072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36590" y="2601913"/>
            <a:ext cx="2481262" cy="1654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116463" y="44624"/>
            <a:ext cx="8915400" cy="1143000"/>
            <a:chOff x="35496" y="44624"/>
            <a:chExt cx="9107488" cy="1189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24" name="Заголовок 16">
            <a:extLst>
              <a:ext uri="{FF2B5EF4-FFF2-40B4-BE49-F238E27FC236}">
                <a16:creationId xmlns:a16="http://schemas.microsoft.com/office/drawing/2014/main" xmlns="" id="{AA864FC0-ADFD-44F3-9830-B2992BF6ED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68624" y="448165"/>
            <a:ext cx="7937612" cy="912986"/>
          </a:xfrm>
        </p:spPr>
        <p:txBody>
          <a:bodyPr lIns="0" tIns="0" rIns="0" bIns="0"/>
          <a:lstStyle/>
          <a:p>
            <a:pPr algn="l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Поднадзорные организации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xmlns="" id="{FB7C300D-4C3F-4D27-9982-E756E5585B42}"/>
              </a:ext>
            </a:extLst>
          </p:cNvPr>
          <p:cNvSpPr/>
          <p:nvPr/>
        </p:nvSpPr>
        <p:spPr>
          <a:xfrm>
            <a:off x="836240" y="1652979"/>
            <a:ext cx="8077200" cy="707886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just"/>
            <a:r>
              <a:rPr lang="ru-RU" sz="2000" b="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Из </a:t>
            </a:r>
            <a:r>
              <a:rPr lang="ru-RU" sz="2000" b="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0764 </a:t>
            </a:r>
            <a:r>
              <a:rPr lang="ru-RU" sz="2000" b="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днадзорных опасных производственных объектов на территории Кемеровской области - Кузбасса эксплуатируются:</a:t>
            </a: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xmlns="" id="{7490B69A-087D-4E7B-AA01-DFA16B63D893}"/>
              </a:ext>
            </a:extLst>
          </p:cNvPr>
          <p:cNvSpPr/>
          <p:nvPr/>
        </p:nvSpPr>
        <p:spPr>
          <a:xfrm>
            <a:off x="829890" y="2601913"/>
            <a:ext cx="2368550" cy="165735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xmlns="" id="{00CEF1C0-65E3-4949-88D0-19366F5E2E71}"/>
              </a:ext>
            </a:extLst>
          </p:cNvPr>
          <p:cNvSpPr txBox="1">
            <a:spLocks/>
          </p:cNvSpPr>
          <p:nvPr/>
        </p:nvSpPr>
        <p:spPr bwMode="auto">
          <a:xfrm>
            <a:off x="836240" y="4369334"/>
            <a:ext cx="2355850" cy="5676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bIns="0" anchor="t"/>
          <a:lstStyle/>
          <a:p>
            <a:pPr algn="ctr"/>
            <a:r>
              <a:rPr lang="ru-RU" altLang="ru-RU" sz="1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62 </a:t>
            </a:r>
            <a: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  <a:t>угольных шахт</a:t>
            </a:r>
          </a:p>
        </p:txBody>
      </p:sp>
      <p:pic>
        <p:nvPicPr>
          <p:cNvPr id="28" name="Рисунок 17">
            <a:extLst>
              <a:ext uri="{FF2B5EF4-FFF2-40B4-BE49-F238E27FC236}">
                <a16:creationId xmlns:a16="http://schemas.microsoft.com/office/drawing/2014/main" xmlns="" id="{D7B7C72B-5F29-461C-B735-D9965919D6F0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6240" y="2601913"/>
            <a:ext cx="2355850" cy="165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" name="Заголовок 1">
            <a:extLst>
              <a:ext uri="{FF2B5EF4-FFF2-40B4-BE49-F238E27FC236}">
                <a16:creationId xmlns:a16="http://schemas.microsoft.com/office/drawing/2014/main" xmlns="" id="{E2456E50-A958-44F0-A86F-FB4E27A8A48B}"/>
              </a:ext>
            </a:extLst>
          </p:cNvPr>
          <p:cNvSpPr txBox="1">
            <a:spLocks/>
          </p:cNvSpPr>
          <p:nvPr/>
        </p:nvSpPr>
        <p:spPr bwMode="auto">
          <a:xfrm>
            <a:off x="3636590" y="4369334"/>
            <a:ext cx="2481262" cy="5676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bIns="0" anchor="t"/>
          <a:lstStyle/>
          <a:p>
            <a:pPr algn="ctr"/>
            <a:r>
              <a:rPr lang="ru-RU" alt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127 </a:t>
            </a:r>
            <a: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  <a:t>угольных разреза</a:t>
            </a:r>
            <a:endParaRPr lang="ru-RU" altLang="ru-RU" sz="1800" dirty="0">
              <a:solidFill>
                <a:srgbClr val="24328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Заголовок 1">
            <a:extLst>
              <a:ext uri="{FF2B5EF4-FFF2-40B4-BE49-F238E27FC236}">
                <a16:creationId xmlns:a16="http://schemas.microsoft.com/office/drawing/2014/main" xmlns="" id="{A4485B6E-DE54-4E0F-BCFE-979BAEA4EE16}"/>
              </a:ext>
            </a:extLst>
          </p:cNvPr>
          <p:cNvSpPr txBox="1">
            <a:spLocks/>
          </p:cNvSpPr>
          <p:nvPr/>
        </p:nvSpPr>
        <p:spPr bwMode="auto">
          <a:xfrm>
            <a:off x="6547008" y="4369334"/>
            <a:ext cx="2481262" cy="5676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bIns="0" anchor="t"/>
          <a:lstStyle/>
          <a:p>
            <a:pPr algn="ctr"/>
            <a:r>
              <a:rPr lang="ru-RU" altLang="ru-RU" sz="1800" smtClean="0">
                <a:latin typeface="Arial" panose="020B0604020202020204" pitchFamily="34" charset="0"/>
                <a:cs typeface="Arial" panose="020B0604020202020204" pitchFamily="34" charset="0"/>
              </a:rPr>
              <a:t>69 </a:t>
            </a:r>
            <a: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объектов обогащения и переработки угля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2B891FD9-81D5-47B3-839D-12A09A868A99}"/>
              </a:ext>
            </a:extLst>
          </p:cNvPr>
          <p:cNvSpPr/>
          <p:nvPr/>
        </p:nvSpPr>
        <p:spPr>
          <a:xfrm>
            <a:off x="829890" y="5385034"/>
            <a:ext cx="8198380" cy="707886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r>
              <a:rPr lang="ru-RU" sz="2000" b="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льшинство относятся к объектам чрезвычайно высокой и высокой опасности</a:t>
            </a:r>
            <a:endParaRPr lang="ru-RU" sz="20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xmlns="" id="{1D188250-C72D-4A11-85A1-73C1860F96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F814217-A692-4320-9F69-D25E0A5EB74C}" type="slidenum">
              <a:rPr lang="ru-RU" smtClean="0"/>
              <a:pPr>
                <a:defRPr/>
              </a:pPr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8687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2756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6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18" name="Объект 17" hidden="1">
                        <a:extLst>
                          <a:ext uri="{FF2B5EF4-FFF2-40B4-BE49-F238E27FC236}">
                            <a16:creationId xmlns:a16="http://schemas.microsoft.com/office/drawing/2014/main" xmlns="" id="{3E034962-BA4C-41F2-8250-7BFD29424A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4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116463" y="44624"/>
            <a:ext cx="8915400" cy="1143000"/>
            <a:chOff x="35496" y="44624"/>
            <a:chExt cx="9107488" cy="1189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xmlns="" id="{79EE0041-2007-4FCF-9A5C-2784FB8F5C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F814217-A692-4320-9F69-D25E0A5EB74C}" type="slidenum">
              <a:rPr lang="ru-RU" smtClean="0"/>
              <a:pPr>
                <a:defRPr/>
              </a:pPr>
              <a:t>4</a:t>
            </a:fld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590836" y="523274"/>
            <a:ext cx="9315164" cy="1143000"/>
          </a:xfrm>
        </p:spPr>
        <p:txBody>
          <a:bodyPr/>
          <a:lstStyle/>
          <a:p>
            <a:r>
              <a:rPr lang="ru-RU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Центр управления промышленной безопасностью                          ООО «Распадская угольная компания»</a:t>
            </a:r>
            <a:endParaRPr lang="ru-RU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147" name="Picture 3" descr="C:\Users\shaidulinaev\Desktop\1111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462" y="1556792"/>
            <a:ext cx="9517057" cy="51742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7840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20552" y="908720"/>
            <a:ext cx="8915400" cy="1143000"/>
          </a:xfrm>
        </p:spPr>
        <p:txBody>
          <a:bodyPr/>
          <a:lstStyle/>
          <a:p>
            <a:r>
              <a:rPr lang="ru-RU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Рабочий кабинет в административном здании угольных шахт для получения информации с МФСБ инспектором Сибирского управления</a:t>
            </a:r>
            <a:endParaRPr lang="ru-RU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F814217-A692-4320-9F69-D25E0A5EB74C}" type="slidenum">
              <a:rPr lang="ru-RU" smtClean="0"/>
              <a:pPr>
                <a:defRPr/>
              </a:pPr>
              <a:t>5</a:t>
            </a:fld>
            <a:endParaRPr lang="ru-RU" dirty="0"/>
          </a:p>
        </p:txBody>
      </p:sp>
      <p:pic>
        <p:nvPicPr>
          <p:cNvPr id="2150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57" y="188640"/>
            <a:ext cx="9174828" cy="1146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508" name="Picture 4" descr="C:\Users\shaidulinaev\Desktop\555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0632" y="2132856"/>
            <a:ext cx="6696744" cy="43351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77417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3884" y="692696"/>
            <a:ext cx="8483352" cy="1143000"/>
          </a:xfrm>
        </p:spPr>
        <p:txBody>
          <a:bodyPr/>
          <a:lstStyle/>
          <a:p>
            <a:r>
              <a:rPr lang="ru-RU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Рабочие места в территориальных отделах Сибирского управления</a:t>
            </a:r>
            <a:endParaRPr lang="ru-RU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F814217-A692-4320-9F69-D25E0A5EB74C}" type="slidenum">
              <a:rPr lang="ru-RU" smtClean="0"/>
              <a:pPr>
                <a:defRPr/>
              </a:pPr>
              <a:t>6</a:t>
            </a:fld>
            <a:endParaRPr lang="ru-RU" dirty="0"/>
          </a:p>
        </p:txBody>
      </p:sp>
      <p:pic>
        <p:nvPicPr>
          <p:cNvPr id="2150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709" y="188640"/>
            <a:ext cx="8918575" cy="1146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78" name="Picture 2" descr="C:\Users\shaidulinaev\Desktop\444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874" y="1916832"/>
            <a:ext cx="4570532" cy="3005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579" name="Picture 3" descr="C:\Users\shaidulinaev\Desktop\88888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227" y="1916832"/>
            <a:ext cx="4680520" cy="3005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358874" y="5445224"/>
            <a:ext cx="887241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Наибольшее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внимание уделяется анализу параметров рудничной атмосферы, а именно: газа метана, оксида углерода и запыленности воздуха</a:t>
            </a:r>
          </a:p>
        </p:txBody>
      </p:sp>
    </p:spTree>
    <p:extLst>
      <p:ext uri="{BB962C8B-B14F-4D97-AF65-F5344CB8AC3E}">
        <p14:creationId xmlns:p14="http://schemas.microsoft.com/office/powerpoint/2010/main" val="3921138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6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18" name="Объект 17" hidden="1">
                        <a:extLst>
                          <a:ext uri="{FF2B5EF4-FFF2-40B4-BE49-F238E27FC236}">
                            <a16:creationId xmlns:a16="http://schemas.microsoft.com/office/drawing/2014/main" xmlns="" id="{3E034962-BA4C-41F2-8250-7BFD29424A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xmlns="" id="{863C2D22-1B0E-4E03-89F5-E6A81A05898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4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116463" y="44624"/>
            <a:ext cx="8915400" cy="1143000"/>
            <a:chOff x="35496" y="44624"/>
            <a:chExt cx="9107488" cy="1189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17" name="Заголовок 16">
            <a:extLst>
              <a:ext uri="{FF2B5EF4-FFF2-40B4-BE49-F238E27FC236}">
                <a16:creationId xmlns:a16="http://schemas.microsoft.com/office/drawing/2014/main" xmlns="" id="{0DEA17F6-B12A-4D35-B173-108FF63A17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8250" y="747677"/>
            <a:ext cx="7937612" cy="912986"/>
          </a:xfrm>
        </p:spPr>
        <p:txBody>
          <a:bodyPr lIns="0" tIns="0" rIns="0" bIns="0"/>
          <a:lstStyle/>
          <a:p>
            <a:pPr algn="l"/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МФСБ угольных шахт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7FA29AB5-AE6C-4A9E-ABF7-70ED3ADF519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57056" y="968834"/>
            <a:ext cx="4219669" cy="5889166"/>
          </a:xfrm>
          <a:prstGeom prst="rect">
            <a:avLst/>
          </a:prstGeom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B37CDD19-FA6B-43D2-AB4D-DF4B34B2E859}"/>
              </a:ext>
            </a:extLst>
          </p:cNvPr>
          <p:cNvSpPr/>
          <p:nvPr/>
        </p:nvSpPr>
        <p:spPr>
          <a:xfrm>
            <a:off x="385088" y="2060848"/>
            <a:ext cx="4953000" cy="2585323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buClr>
                <a:srgbClr val="F68B1E"/>
              </a:buClr>
            </a:pPr>
            <a:r>
              <a:rPr lang="ru-RU" sz="1800" b="0" dirty="0">
                <a:latin typeface="Arial" panose="020B0604020202020204" pitchFamily="34" charset="0"/>
                <a:cs typeface="Arial" panose="020B0604020202020204" pitchFamily="34" charset="0"/>
              </a:rPr>
              <a:t>В целях оперативного контроля используется система рассылки оповещений о нештатных ситуациях.</a:t>
            </a:r>
          </a:p>
          <a:p>
            <a:pPr>
              <a:buClr>
                <a:srgbClr val="F68B1E"/>
              </a:buClr>
            </a:pPr>
            <a:endParaRPr lang="ru-RU" sz="18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rgbClr val="F68B1E"/>
              </a:buClr>
            </a:pPr>
            <a:r>
              <a:rPr lang="ru-RU" sz="1800" b="0" dirty="0">
                <a:latin typeface="Arial" panose="020B0604020202020204" pitchFamily="34" charset="0"/>
                <a:cs typeface="Arial" panose="020B0604020202020204" pitchFamily="34" charset="0"/>
              </a:rPr>
              <a:t>Аппаратно-программный комплекс в автоматическом режиме формирует и отправляет СМС сообщения о превышениях ПДК метана, СО и снижении скорости воздуха до нижнего предела</a:t>
            </a:r>
            <a:endParaRPr lang="ru-RU" sz="1800" b="0" dirty="0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E118BB2E-990E-495E-86A2-663AF5441A06}"/>
              </a:ext>
            </a:extLst>
          </p:cNvPr>
          <p:cNvSpPr/>
          <p:nvPr/>
        </p:nvSpPr>
        <p:spPr>
          <a:xfrm>
            <a:off x="6198474" y="2273062"/>
            <a:ext cx="1944216" cy="2492990"/>
          </a:xfrm>
          <a:prstGeom prst="rect">
            <a:avLst/>
          </a:prstGeom>
        </p:spPr>
        <p:txBody>
          <a:bodyPr wrap="square" lIns="36000" tIns="0" rIns="0" bIns="0">
            <a:spAutoFit/>
          </a:bodyPr>
          <a:lstStyle/>
          <a:p>
            <a:r>
              <a:rPr lang="ru-RU" sz="1800" b="0" dirty="0">
                <a:latin typeface="Arial Narrow" panose="020B0606020202030204" pitchFamily="34" charset="0"/>
                <a:ea typeface="Times New Roman" panose="02020603050405020304" pitchFamily="18" charset="0"/>
              </a:rPr>
              <a:t>Вентиляционный штрек 5-7: </a:t>
            </a:r>
          </a:p>
          <a:p>
            <a:r>
              <a:rPr lang="ru-RU" sz="1800" b="0" dirty="0">
                <a:latin typeface="Arial Narrow" panose="020B0606020202030204" pitchFamily="34" charset="0"/>
                <a:ea typeface="Times New Roman" panose="02020603050405020304" pitchFamily="18" charset="0"/>
              </a:rPr>
              <a:t>М125 (11411): с 25.01.2019 02:10 до 02:11 1.01%  </a:t>
            </a:r>
          </a:p>
          <a:p>
            <a:r>
              <a:rPr lang="ru-RU" sz="1800" b="0" dirty="0">
                <a:latin typeface="Arial Narrow" panose="020B0606020202030204" pitchFamily="34" charset="0"/>
                <a:ea typeface="Times New Roman" panose="02020603050405020304" pitchFamily="18" charset="0"/>
              </a:rPr>
              <a:t>Уч. №1 - Лава 5-7:  </a:t>
            </a:r>
          </a:p>
          <a:p>
            <a:r>
              <a:rPr lang="ru-RU" sz="1800" b="0" dirty="0">
                <a:latin typeface="Arial Narrow" panose="020B0606020202030204" pitchFamily="34" charset="0"/>
                <a:ea typeface="Times New Roman" panose="02020603050405020304" pitchFamily="18" charset="0"/>
              </a:rPr>
              <a:t>М249 (11215): с 25.01.2019 02:08 до 02:09 1.02%</a:t>
            </a:r>
            <a:endParaRPr lang="ru-RU" sz="1800" b="0" dirty="0">
              <a:latin typeface="Arial Narrow" panose="020B0606020202030204" pitchFamily="34" charset="0"/>
            </a:endParaRPr>
          </a:p>
        </p:txBody>
      </p:sp>
      <p:sp>
        <p:nvSpPr>
          <p:cNvPr id="15" name="Номер слайда 14">
            <a:extLst>
              <a:ext uri="{FF2B5EF4-FFF2-40B4-BE49-F238E27FC236}">
                <a16:creationId xmlns:a16="http://schemas.microsoft.com/office/drawing/2014/main" xmlns="" id="{9FC153D8-088D-45CE-8F40-985012D9E8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F814217-A692-4320-9F69-D25E0A5EB74C}" type="slidenum">
              <a:rPr lang="ru-RU" smtClean="0"/>
              <a:pPr>
                <a:defRPr/>
              </a:pPr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07582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1799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4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18" name="Объект 17" hidden="1">
                        <a:extLst>
                          <a:ext uri="{FF2B5EF4-FFF2-40B4-BE49-F238E27FC236}">
                            <a16:creationId xmlns:a16="http://schemas.microsoft.com/office/drawing/2014/main" xmlns="" id="{3E034962-BA4C-41F2-8250-7BFD29424A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xmlns="" id="{863C2D22-1B0E-4E03-89F5-E6A81A05898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4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116463" y="44624"/>
            <a:ext cx="8915400" cy="1143000"/>
            <a:chOff x="35496" y="44624"/>
            <a:chExt cx="9107488" cy="1189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19" name="Заголовок 16">
            <a:extLst>
              <a:ext uri="{FF2B5EF4-FFF2-40B4-BE49-F238E27FC236}">
                <a16:creationId xmlns:a16="http://schemas.microsoft.com/office/drawing/2014/main" xmlns="" id="{CC00EB28-3386-4C26-B303-89277E00A8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68624" y="535241"/>
            <a:ext cx="7937612" cy="912986"/>
          </a:xfrm>
        </p:spPr>
        <p:txBody>
          <a:bodyPr lIns="0" tIns="0" rIns="0" bIns="0"/>
          <a:lstStyle/>
          <a:p>
            <a:pPr algn="l"/>
            <a:r>
              <a:rPr lang="ru-RU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истанционный мониторинг </a:t>
            </a:r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на угольных разрезах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4F3C31FE-A450-4C34-AC12-1B2661FA5CFE}"/>
              </a:ext>
            </a:extLst>
          </p:cNvPr>
          <p:cNvSpPr txBox="1"/>
          <p:nvPr/>
        </p:nvSpPr>
        <p:spPr>
          <a:xfrm>
            <a:off x="419776" y="5435932"/>
            <a:ext cx="46085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ифровая модель разреза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E18D4A30-D9C5-4A18-8937-390FF9242058}"/>
              </a:ext>
            </a:extLst>
          </p:cNvPr>
          <p:cNvSpPr txBox="1"/>
          <p:nvPr/>
        </p:nvSpPr>
        <p:spPr>
          <a:xfrm>
            <a:off x="5134166" y="5435932"/>
            <a:ext cx="4372070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График смещения, мм</a:t>
            </a: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xmlns="" id="{D8F897D8-D895-44B8-8C30-F92AFA52703A}"/>
              </a:ext>
            </a:extLst>
          </p:cNvPr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9776" y="2245145"/>
            <a:ext cx="4608512" cy="3047622"/>
          </a:xfrm>
          <a:prstGeom prst="rect">
            <a:avLst/>
          </a:prstGeom>
          <a:noFill/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xmlns="" id="{B1A777CB-5E79-4AF8-86C3-0A54955BEC83}"/>
              </a:ext>
            </a:extLst>
          </p:cNvPr>
          <p:cNvPicPr/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131704" y="2245145"/>
            <a:ext cx="4372070" cy="3047622"/>
          </a:xfrm>
          <a:prstGeom prst="rect">
            <a:avLst/>
          </a:prstGeom>
          <a:noFill/>
          <a:effectLst/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CA7BF932-1550-4762-A5EB-138F5B3B371C}"/>
              </a:ext>
            </a:extLst>
          </p:cNvPr>
          <p:cNvSpPr/>
          <p:nvPr/>
        </p:nvSpPr>
        <p:spPr>
          <a:xfrm>
            <a:off x="419776" y="1280120"/>
            <a:ext cx="908646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spcAft>
                <a:spcPts val="0"/>
              </a:spcAft>
            </a:pPr>
            <a:r>
              <a:rPr lang="ru-RU" sz="1600" b="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истема деформационного </a:t>
            </a:r>
            <a:r>
              <a:rPr lang="ru-RU" sz="1600" b="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ониторинга </a:t>
            </a:r>
            <a:r>
              <a:rPr lang="ru-RU" sz="1600" b="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 радар «</a:t>
            </a:r>
            <a:r>
              <a:rPr lang="en-US" sz="1600" b="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BIS Rover</a:t>
            </a:r>
            <a:r>
              <a:rPr lang="ru-RU" sz="1600" b="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». Радар осуществляет измерения смещений земной поверхности, и в автоматическом режиме передает данные в диспетчерскую и ответственному специалисту. </a:t>
            </a:r>
            <a:endParaRPr lang="ru-RU" sz="1050" b="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D87EBEB6-761B-4B90-A63F-0C27A6F553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F814217-A692-4320-9F69-D25E0A5EB74C}" type="slidenum">
              <a:rPr lang="ru-RU" smtClean="0"/>
              <a:pPr>
                <a:defRPr/>
              </a:pPr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01476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8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18" name="Объект 17" hidden="1">
                        <a:extLst>
                          <a:ext uri="{FF2B5EF4-FFF2-40B4-BE49-F238E27FC236}">
                            <a16:creationId xmlns:a16="http://schemas.microsoft.com/office/drawing/2014/main" xmlns="" id="{3E034962-BA4C-41F2-8250-7BFD29424A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xmlns="" id="{863C2D22-1B0E-4E03-89F5-E6A81A05898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4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116463" y="44624"/>
            <a:ext cx="8915400" cy="1143000"/>
            <a:chOff x="35496" y="44624"/>
            <a:chExt cx="9107488" cy="1189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19" name="Заголовок 16">
            <a:extLst>
              <a:ext uri="{FF2B5EF4-FFF2-40B4-BE49-F238E27FC236}">
                <a16:creationId xmlns:a16="http://schemas.microsoft.com/office/drawing/2014/main" xmlns="" id="{CC00EB28-3386-4C26-B303-89277E00A8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68624" y="404232"/>
            <a:ext cx="7937612" cy="912986"/>
          </a:xfrm>
        </p:spPr>
        <p:txBody>
          <a:bodyPr lIns="0" tIns="0" rIns="0" bIns="0"/>
          <a:lstStyle/>
          <a:p>
            <a:pPr algn="l"/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Дистанционный мониторинг </a:t>
            </a:r>
            <a:r>
              <a:rPr lang="ru-RU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на </a:t>
            </a:r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угольных разрезах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4F3C31FE-A450-4C34-AC12-1B2661FA5CFE}"/>
              </a:ext>
            </a:extLst>
          </p:cNvPr>
          <p:cNvSpPr txBox="1"/>
          <p:nvPr/>
        </p:nvSpPr>
        <p:spPr>
          <a:xfrm>
            <a:off x="419776" y="5435932"/>
            <a:ext cx="448697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кважинный авт. </a:t>
            </a:r>
            <a:r>
              <a:rPr lang="ru-RU" sz="18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иодомер</a:t>
            </a:r>
            <a:r>
              <a:rPr lang="ru-RU" sz="1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ru-RU" sz="1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П-1М GSM (Россия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E18D4A30-D9C5-4A18-8937-390FF9242058}"/>
              </a:ext>
            </a:extLst>
          </p:cNvPr>
          <p:cNvSpPr txBox="1"/>
          <p:nvPr/>
        </p:nvSpPr>
        <p:spPr>
          <a:xfrm>
            <a:off x="5134166" y="5435932"/>
            <a:ext cx="4372070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8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Графики давления с порогами опасности (кг/см2)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CA7BF932-1550-4762-A5EB-138F5B3B371C}"/>
              </a:ext>
            </a:extLst>
          </p:cNvPr>
          <p:cNvSpPr/>
          <p:nvPr/>
        </p:nvSpPr>
        <p:spPr>
          <a:xfrm>
            <a:off x="419776" y="1280120"/>
            <a:ext cx="908646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spcAft>
                <a:spcPts val="0"/>
              </a:spcAft>
            </a:pPr>
            <a:r>
              <a:rPr lang="ru-RU" sz="1600" b="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истема дистанционного гидрогеологического </a:t>
            </a:r>
            <a:r>
              <a:rPr lang="ru-RU" sz="1600" b="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ониторинга </a:t>
            </a:r>
            <a:r>
              <a:rPr lang="ru-RU" sz="1600" b="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– «САП-1М». Дистанционный автоматический </a:t>
            </a:r>
            <a:r>
              <a:rPr lang="ru-RU" sz="1600" b="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ериодомер</a:t>
            </a:r>
            <a:r>
              <a:rPr lang="ru-RU" sz="1600" b="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осуществляет измерения порового давления в наблюдательных скважинах, оборудованных датчиками струнного типа (ПДС)</a:t>
            </a:r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xmlns="" id="{0C0509C1-6EF9-4147-A5AB-B0C2676F2EDF}"/>
              </a:ext>
            </a:extLst>
          </p:cNvPr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34166" y="2356741"/>
            <a:ext cx="4372070" cy="2832478"/>
          </a:xfrm>
          <a:prstGeom prst="rect">
            <a:avLst/>
          </a:prstGeom>
          <a:noFill/>
        </p:spPr>
      </p:pic>
      <p:pic>
        <p:nvPicPr>
          <p:cNvPr id="22" name="Рисунок 21">
            <a:extLst>
              <a:ext uri="{FF2B5EF4-FFF2-40B4-BE49-F238E27FC236}">
                <a16:creationId xmlns:a16="http://schemas.microsoft.com/office/drawing/2014/main" xmlns="" id="{A96A6A4A-5B07-4F0D-9E14-EA7532E1CEB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19776" y="2356741"/>
            <a:ext cx="4486977" cy="2832478"/>
          </a:xfrm>
          <a:prstGeom prst="rect">
            <a:avLst/>
          </a:prstGeom>
        </p:spPr>
      </p:pic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5F8599AE-652B-4931-9844-BB3626F548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F814217-A692-4320-9F69-D25E0A5EB74C}" type="slidenum">
              <a:rPr lang="ru-RU" smtClean="0"/>
              <a:pPr>
                <a:defRPr/>
              </a:pPr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52284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LO19NzbkleUkBvtl.qy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LO19NzbkleUkBvtl.qy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LO19NzbkleUkBvtl.qy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LO19NzbkleUkBvtl.qy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LO19NzbkleUkBvtl.qy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9ZmmKIkOZZBSyM7SV.M1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9ZmmKIkOZZBSyM7SV.M1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BoIKoMzT9Wh20k0e2mB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LqmGzrGkH73bDjSlMOV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583</TotalTime>
  <Words>463</Words>
  <Application>Microsoft Office PowerPoint</Application>
  <PresentationFormat>Лист A4 (210x297 мм)</PresentationFormat>
  <Paragraphs>83</Paragraphs>
  <Slides>13</Slides>
  <Notes>1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15" baseType="lpstr">
      <vt:lpstr>Тема Office</vt:lpstr>
      <vt:lpstr>Слайд think-cell</vt:lpstr>
      <vt:lpstr>«Опыт практического применения цифровизации производственных процессов и дистанционный мониторинг состояния промышленной безопасности угольных предприятий Кемеровской области - Кузбасса»</vt:lpstr>
      <vt:lpstr>Поднадзорные организации</vt:lpstr>
      <vt:lpstr>Поднадзорные организации</vt:lpstr>
      <vt:lpstr>Центр управления промышленной безопасностью                          ООО «Распадская угольная компания»</vt:lpstr>
      <vt:lpstr>Рабочий кабинет в административном здании угольных шахт для получения информации с МФСБ инспектором Сибирского управления</vt:lpstr>
      <vt:lpstr>Рабочие места в территориальных отделах Сибирского управления</vt:lpstr>
      <vt:lpstr>МФСБ угольных шахт</vt:lpstr>
      <vt:lpstr>Дистанционный мониторинг на угольных разрезах</vt:lpstr>
      <vt:lpstr>Дистанционный мониторинг на угольных разрезах</vt:lpstr>
      <vt:lpstr>Дистанционный мониторинг на угольных разрезах</vt:lpstr>
      <vt:lpstr>Дистанционный мониторинг на угольных разрезах</vt:lpstr>
      <vt:lpstr>Внедрение системы распознавания опасных действий персонала в Распадской угольной компании</vt:lpstr>
      <vt:lpstr>Благодарю за внимание!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A.Tukay</dc:creator>
  <cp:lastModifiedBy>Сербинович Михаил Васильевич</cp:lastModifiedBy>
  <cp:revision>1150</cp:revision>
  <cp:lastPrinted>2021-03-23T05:13:54Z</cp:lastPrinted>
  <dcterms:created xsi:type="dcterms:W3CDTF">2012-04-16T06:44:06Z</dcterms:created>
  <dcterms:modified xsi:type="dcterms:W3CDTF">2021-03-23T05:14:33Z</dcterms:modified>
</cp:coreProperties>
</file>